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sldIdLst>
    <p:sldId id="2147478672" r:id="rId5"/>
  </p:sldIdLst>
  <p:sldSz cx="12192000" cy="6858000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BG" id="{2216DF8C-961F-4FFE-8764-DB574359114B}">
          <p14:sldIdLst>
            <p14:sldId id="214747867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94660"/>
  </p:normalViewPr>
  <p:slideViewPr>
    <p:cSldViewPr snapToGrid="0">
      <p:cViewPr varScale="1">
        <p:scale>
          <a:sx n="93" d="100"/>
          <a:sy n="93" d="100"/>
        </p:scale>
        <p:origin x="1074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ana Jeannette Molina Rodriguez (OCENSA)" userId="193e1c39-28bf-44a5-b2e6-f32a19f5a274" providerId="ADAL" clId="{BACDD037-3514-4089-8AF4-301E4FF175F6}"/>
    <pc:docChg chg="delSld modSection">
      <pc:chgData name="Diana Jeannette Molina Rodriguez (OCENSA)" userId="193e1c39-28bf-44a5-b2e6-f32a19f5a274" providerId="ADAL" clId="{BACDD037-3514-4089-8AF4-301E4FF175F6}" dt="2025-10-27T16:15:16.089" v="2" actId="47"/>
      <pc:docMkLst>
        <pc:docMk/>
      </pc:docMkLst>
      <pc:sldChg chg="del">
        <pc:chgData name="Diana Jeannette Molina Rodriguez (OCENSA)" userId="193e1c39-28bf-44a5-b2e6-f32a19f5a274" providerId="ADAL" clId="{BACDD037-3514-4089-8AF4-301E4FF175F6}" dt="2025-10-27T16:15:14.642" v="0" actId="47"/>
        <pc:sldMkLst>
          <pc:docMk/>
          <pc:sldMk cId="931807665" sldId="2147478673"/>
        </pc:sldMkLst>
      </pc:sldChg>
      <pc:sldChg chg="del">
        <pc:chgData name="Diana Jeannette Molina Rodriguez (OCENSA)" userId="193e1c39-28bf-44a5-b2e6-f32a19f5a274" providerId="ADAL" clId="{BACDD037-3514-4089-8AF4-301E4FF175F6}" dt="2025-10-27T16:15:16.089" v="2" actId="47"/>
        <pc:sldMkLst>
          <pc:docMk/>
          <pc:sldMk cId="1008775426" sldId="2147478674"/>
        </pc:sldMkLst>
      </pc:sldChg>
      <pc:sldChg chg="del">
        <pc:chgData name="Diana Jeannette Molina Rodriguez (OCENSA)" userId="193e1c39-28bf-44a5-b2e6-f32a19f5a274" providerId="ADAL" clId="{BACDD037-3514-4089-8AF4-301E4FF175F6}" dt="2025-10-27T16:15:15.390" v="1" actId="47"/>
        <pc:sldMkLst>
          <pc:docMk/>
          <pc:sldMk cId="1254956395" sldId="2147478675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F4E2D5-50FC-4D55-99D2-BCEC6E95EF1F}" type="datetimeFigureOut">
              <a:rPr lang="es-CO" smtClean="0"/>
              <a:t>27/10/2025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0FC8FC-8886-4B0E-96BE-2A72CA0CFFCB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33703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56D889D-020C-4782-DD1E-B86CB4F62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05AC0B9-94BB-9652-267C-6061C3B415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A506664-5DDB-C375-327C-80B00F4C5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8D7F4-F45D-4356-861B-8F71337A8741}" type="datetimeFigureOut">
              <a:rPr lang="es-CO" smtClean="0"/>
              <a:t>27/10/2025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D976B42-567D-7233-9D48-141BE32C7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6AD4347-69CE-6066-7316-9445B43BF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E7787-5ACE-4F2E-95D3-F4A0B349292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623297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7883DB-F930-BBA8-3E6A-D1BAE7A66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6B384B1F-468E-1B6E-3E5E-872E774BBA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4581DDE-AAAC-D36C-0AF4-C685FE75B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8D7F4-F45D-4356-861B-8F71337A8741}" type="datetimeFigureOut">
              <a:rPr lang="es-CO" smtClean="0"/>
              <a:t>27/10/2025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EB87063-CF2C-6FC9-7830-AA6CCD766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DDDFD43-64FC-9F49-BA9B-3941109750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E7787-5ACE-4F2E-95D3-F4A0B349292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833782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003A3756-3653-891A-1888-DD91BC39457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9352AAAA-1FCC-5B17-4496-F164860F6B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38592AE-5817-8069-4D9B-3C68F7C379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8D7F4-F45D-4356-861B-8F71337A8741}" type="datetimeFigureOut">
              <a:rPr lang="es-CO" smtClean="0"/>
              <a:t>27/10/2025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4EA3F82-655B-511D-F94B-9F42F0EE9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7D7B185-019E-442E-3959-881B04C7C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E7787-5ACE-4F2E-95D3-F4A0B349292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416942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F158C7D-A7D7-31E0-47B8-C0F075203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B8B0775-3886-699A-08EB-1A6AD017BA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F7F4E6F-5A14-9A09-61D7-94565BBD5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8D7F4-F45D-4356-861B-8F71337A8741}" type="datetimeFigureOut">
              <a:rPr lang="es-CO" smtClean="0"/>
              <a:t>27/10/2025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2417931-801C-B6D4-B7B4-C4B1D1054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E4909AD-08C0-69A4-A459-BCD10093A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E7787-5ACE-4F2E-95D3-F4A0B349292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442602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C936CF5-A76C-3961-FF95-EE8358D6B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05DFF2C-FFE1-0EF3-674D-DEA527B282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7D7688D-51FD-AF82-3418-F199C3682E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8D7F4-F45D-4356-861B-8F71337A8741}" type="datetimeFigureOut">
              <a:rPr lang="es-CO" smtClean="0"/>
              <a:t>27/10/2025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DF359CF-9790-AC09-B38C-77E32BB48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7F286D5-5D2A-03AA-71B6-285DEB967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E7787-5ACE-4F2E-95D3-F4A0B349292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0804984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B285038-83AF-0B49-E299-4569FC2CE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21F0ECC-E057-0D13-9AED-E05FB289D2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D6B61CA-CBB5-CD56-1C30-760B39BEFE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9720008-BA2D-30AC-9E42-57EC1F56B3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8D7F4-F45D-4356-861B-8F71337A8741}" type="datetimeFigureOut">
              <a:rPr lang="es-CO" smtClean="0"/>
              <a:t>27/10/2025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5FFD0E2-E39D-1FB6-0AB3-4D09EEF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4AFA2BC-EA46-FA71-2AAE-28C22129A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E7787-5ACE-4F2E-95D3-F4A0B349292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710617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23F00E2-68B9-B0E4-8466-618A7B3571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DC19FCD-D0B4-A9AE-5314-72742E1332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7E314224-2EEE-389B-C9D3-1ED3EA6FB3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982D41D1-E1E6-83FD-5E19-72103D7556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2510D1DF-4C95-500E-97D3-EC252B6936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1A1949BF-C5E4-D0A9-42CE-1EE6B8CA4F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8D7F4-F45D-4356-861B-8F71337A8741}" type="datetimeFigureOut">
              <a:rPr lang="es-CO" smtClean="0"/>
              <a:t>27/10/2025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85692A0B-C220-A50A-3A2A-44601E57EA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E2F0D000-4EFB-A41A-B71C-0413D8AB5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E7787-5ACE-4F2E-95D3-F4A0B349292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051050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BA6722-45CD-EBB9-344B-1E071315B3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F7E2D23A-27B2-18C5-9B69-101028B43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8D7F4-F45D-4356-861B-8F71337A8741}" type="datetimeFigureOut">
              <a:rPr lang="es-CO" smtClean="0"/>
              <a:t>27/10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406A5CC-8D34-7747-E2E6-D2F2FB96A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A480EE7C-7A4D-83E9-C373-435F110CB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E7787-5ACE-4F2E-95D3-F4A0B349292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13255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1396E708-FC55-FA3F-61C7-897E6D7EF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8D7F4-F45D-4356-861B-8F71337A8741}" type="datetimeFigureOut">
              <a:rPr lang="es-CO" smtClean="0"/>
              <a:t>27/10/2025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651546E2-C028-E221-A7EC-1C7F9BBF8F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F5CAB29-D3B4-37B8-E852-43205A8CE8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E7787-5ACE-4F2E-95D3-F4A0B349292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53457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C1637C-A27E-F8B7-C80B-7A660E9D5F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68B4D1C-3740-9983-A14C-798F598172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C25BB29-3E13-381F-38AC-E36FC4013C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3FCD884-5F02-AB79-4A7A-0867F38EFF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8D7F4-F45D-4356-861B-8F71337A8741}" type="datetimeFigureOut">
              <a:rPr lang="es-CO" smtClean="0"/>
              <a:t>27/10/2025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C6928FC-6D8C-1147-6BAE-472D208116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D6FCA3A-E9F9-8F54-771B-3413C317E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E7787-5ACE-4F2E-95D3-F4A0B349292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796516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C08FD8-B8BB-5693-EAB3-5CBC77923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AB8F1A63-66A9-AD45-1CD3-33F88D6D557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16336CC-EC64-A1E7-FFAC-44819736F5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3EC0499-AEA9-099B-8040-F330675DB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8D7F4-F45D-4356-861B-8F71337A8741}" type="datetimeFigureOut">
              <a:rPr lang="es-CO" smtClean="0"/>
              <a:t>27/10/2025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7D33C01-C852-5690-1B1C-8EACEC0C75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7335F29B-11B9-01BA-45E6-6EFC62A25E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E7787-5ACE-4F2E-95D3-F4A0B349292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217289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473BE88-D15C-BC66-A40B-9E36ACE6ED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28687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395" imgH="396" progId="TCLayout.ActiveDocument.1">
                  <p:embed/>
                </p:oleObj>
              </mc:Choice>
              <mc:Fallback>
                <p:oleObj name="Diapositiva de think-cell" r:id="rId14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73BE88-D15C-BC66-A40B-9E36ACE6ED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616D6D9-1672-0383-D694-34B2D4EB9D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5BE4CBE-DBA0-501F-F916-50929C4BDA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2DF3AA8-2FD9-4CDE-5A1C-02A62A950F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F18D7F4-F45D-4356-861B-8F71337A8741}" type="datetimeFigureOut">
              <a:rPr lang="es-CO" smtClean="0"/>
              <a:t>27/10/2025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6845D1E-5362-39DC-C359-DB5A9BB213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F07C056-1DBE-6FDB-C832-2D66DBF3BD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93E7787-5ACE-4F2E-95D3-F4A0B349292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372811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218424F-F3E1-ECF2-7450-E01F53233F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4C37BE5-7A59-685D-A971-A1F95141D1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C37BE5-7A59-685D-A971-A1F95141D1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uadroTexto 1">
            <a:extLst>
              <a:ext uri="{FF2B5EF4-FFF2-40B4-BE49-F238E27FC236}">
                <a16:creationId xmlns:a16="http://schemas.microsoft.com/office/drawing/2014/main" id="{DCDE8E4E-EAA1-70FE-03EF-4BC95AAA6A18}"/>
              </a:ext>
            </a:extLst>
          </p:cNvPr>
          <p:cNvSpPr txBox="1"/>
          <p:nvPr/>
        </p:nvSpPr>
        <p:spPr>
          <a:xfrm>
            <a:off x="908816" y="37716"/>
            <a:ext cx="12192000" cy="400110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300" normalizeH="0" baseline="0" noProof="0" dirty="0">
                <a:ln>
                  <a:noFill/>
                </a:ln>
                <a:solidFill>
                  <a:srgbClr val="3399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BG 2025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199D95A8-DB19-37BB-1815-4305948E0997}"/>
              </a:ext>
            </a:extLst>
          </p:cNvPr>
          <p:cNvSpPr/>
          <p:nvPr/>
        </p:nvSpPr>
        <p:spPr>
          <a:xfrm>
            <a:off x="243280" y="6518819"/>
            <a:ext cx="116126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/ Metas Normalizadas. Los indicadores que no tienen medición en el periodo se toman con un cumplimiento del 100%.</a:t>
            </a:r>
          </a:p>
          <a:p>
            <a:pPr>
              <a:defRPr/>
            </a:pPr>
            <a:r>
              <a:rPr lang="es-MX" sz="900">
                <a:solidFill>
                  <a:prstClr val="black"/>
                </a:solidFill>
                <a:latin typeface="Calibri" panose="020F0502020204030204"/>
              </a:rPr>
              <a:t>2 / </a:t>
            </a:r>
            <a:r>
              <a:rPr lang="es-CO" sz="900"/>
              <a:t>Como no se ha emitido Resolución Tarifaria el 20%  de este indicador se redistribuyó en los indicadores financieros (Retornos Competitivos) a prorrata.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EC0A4503-413D-C354-FCF4-3E1221B5E904}"/>
              </a:ext>
            </a:extLst>
          </p:cNvPr>
          <p:cNvSpPr txBox="1"/>
          <p:nvPr/>
        </p:nvSpPr>
        <p:spPr>
          <a:xfrm>
            <a:off x="908816" y="409553"/>
            <a:ext cx="11612656" cy="38536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Cumplimiento del 107,7</a:t>
            </a:r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a septiembre frente a las metas del período</a:t>
            </a: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/1</a:t>
            </a: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graphicFrame>
        <p:nvGraphicFramePr>
          <p:cNvPr id="15" name="Tabla 14">
            <a:extLst>
              <a:ext uri="{FF2B5EF4-FFF2-40B4-BE49-F238E27FC236}">
                <a16:creationId xmlns:a16="http://schemas.microsoft.com/office/drawing/2014/main" id="{638ECA4A-C2C9-A148-2CD2-73A37F9B1F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0997345"/>
              </p:ext>
            </p:extLst>
          </p:nvPr>
        </p:nvGraphicFramePr>
        <p:xfrm>
          <a:off x="2544857" y="809663"/>
          <a:ext cx="7254914" cy="5455784"/>
        </p:xfrm>
        <a:graphic>
          <a:graphicData uri="http://schemas.openxmlformats.org/drawingml/2006/table">
            <a:tbl>
              <a:tblPr/>
              <a:tblGrid>
                <a:gridCol w="1265359">
                  <a:extLst>
                    <a:ext uri="{9D8B030D-6E8A-4147-A177-3AD203B41FA5}">
                      <a16:colId xmlns:a16="http://schemas.microsoft.com/office/drawing/2014/main" val="806869310"/>
                    </a:ext>
                  </a:extLst>
                </a:gridCol>
                <a:gridCol w="1614785">
                  <a:extLst>
                    <a:ext uri="{9D8B030D-6E8A-4147-A177-3AD203B41FA5}">
                      <a16:colId xmlns:a16="http://schemas.microsoft.com/office/drawing/2014/main" val="3861005418"/>
                    </a:ext>
                  </a:extLst>
                </a:gridCol>
                <a:gridCol w="617962">
                  <a:extLst>
                    <a:ext uri="{9D8B030D-6E8A-4147-A177-3AD203B41FA5}">
                      <a16:colId xmlns:a16="http://schemas.microsoft.com/office/drawing/2014/main" val="247448903"/>
                    </a:ext>
                  </a:extLst>
                </a:gridCol>
                <a:gridCol w="617962">
                  <a:extLst>
                    <a:ext uri="{9D8B030D-6E8A-4147-A177-3AD203B41FA5}">
                      <a16:colId xmlns:a16="http://schemas.microsoft.com/office/drawing/2014/main" val="3884029869"/>
                    </a:ext>
                  </a:extLst>
                </a:gridCol>
                <a:gridCol w="635429">
                  <a:extLst>
                    <a:ext uri="{9D8B030D-6E8A-4147-A177-3AD203B41FA5}">
                      <a16:colId xmlns:a16="http://schemas.microsoft.com/office/drawing/2014/main" val="2491350626"/>
                    </a:ext>
                  </a:extLst>
                </a:gridCol>
                <a:gridCol w="46771">
                  <a:extLst>
                    <a:ext uri="{9D8B030D-6E8A-4147-A177-3AD203B41FA5}">
                      <a16:colId xmlns:a16="http://schemas.microsoft.com/office/drawing/2014/main" val="3551131225"/>
                    </a:ext>
                  </a:extLst>
                </a:gridCol>
                <a:gridCol w="807094">
                  <a:extLst>
                    <a:ext uri="{9D8B030D-6E8A-4147-A177-3AD203B41FA5}">
                      <a16:colId xmlns:a16="http://schemas.microsoft.com/office/drawing/2014/main" val="4124152720"/>
                    </a:ext>
                  </a:extLst>
                </a:gridCol>
                <a:gridCol w="883240">
                  <a:extLst>
                    <a:ext uri="{9D8B030D-6E8A-4147-A177-3AD203B41FA5}">
                      <a16:colId xmlns:a16="http://schemas.microsoft.com/office/drawing/2014/main" val="2292946773"/>
                    </a:ext>
                  </a:extLst>
                </a:gridCol>
                <a:gridCol w="766312">
                  <a:extLst>
                    <a:ext uri="{9D8B030D-6E8A-4147-A177-3AD203B41FA5}">
                      <a16:colId xmlns:a16="http://schemas.microsoft.com/office/drawing/2014/main" val="2729548692"/>
                    </a:ext>
                  </a:extLst>
                </a:gridCol>
              </a:tblGrid>
              <a:tr h="1508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CO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ptiembr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94722"/>
                  </a:ext>
                </a:extLst>
              </a:tr>
              <a:tr h="1478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Foc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Indocador</a:t>
                      </a:r>
                      <a:endParaRPr lang="es-CO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Unida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Pes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Meta anu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F24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Meta m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Cumplimient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3687293"/>
                  </a:ext>
                </a:extLst>
              </a:tr>
              <a:tr h="1022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7355607"/>
                  </a:ext>
                </a:extLst>
              </a:tr>
              <a:tr h="270996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imero la vida </a:t>
                      </a:r>
                      <a:b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10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RIF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ventos / MH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26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46112"/>
                  </a:ext>
                </a:extLst>
              </a:tr>
              <a:tr h="17245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Índice de Severida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#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95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95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9990474"/>
                  </a:ext>
                </a:extLst>
              </a:tr>
              <a:tr h="172452"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osTECnibilidad</a:t>
                      </a:r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b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23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ducción de emision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Ton</a:t>
                      </a:r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CO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9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,475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377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6956652"/>
                  </a:ext>
                </a:extLst>
              </a:tr>
              <a:tr h="17245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nergías Renovabl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5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5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4626059"/>
                  </a:ext>
                </a:extLst>
              </a:tr>
              <a:tr h="255599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staciones Autosostenibl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6%</a:t>
                      </a:r>
                      <a:endParaRPr lang="es-CO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0%</a:t>
                      </a:r>
                      <a:endParaRPr lang="es-CO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864947"/>
                  </a:ext>
                </a:extLst>
              </a:tr>
              <a:tr h="17245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alor con </a:t>
                      </a:r>
                      <a:r>
                        <a:rPr lang="es-CO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osTecnibilida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1418553"/>
                  </a:ext>
                </a:extLst>
              </a:tr>
              <a:tr h="2648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s-CO" sz="1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rtl="0" fontAlgn="ctr"/>
                      <a:r>
                        <a:rPr lang="es-MX" sz="1000" b="1" i="0" u="none" strike="noStrike">
                          <a:solidFill>
                            <a:srgbClr val="808080"/>
                          </a:solidFill>
                          <a:effectLst/>
                          <a:latin typeface="Arial"/>
                        </a:rPr>
                        <a:t>Portafolio de desarrollo sostenible inversión socia ambient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,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8679657"/>
                  </a:ext>
                </a:extLst>
              </a:tr>
              <a:tr h="1662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s-CO" sz="1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rtl="0" fontAlgn="ctr"/>
                      <a:r>
                        <a:rPr lang="es-CO" sz="1000" b="1" i="0" u="none" strike="noStrike">
                          <a:solidFill>
                            <a:srgbClr val="808080"/>
                          </a:solidFill>
                          <a:effectLst/>
                          <a:latin typeface="Arial"/>
                        </a:rPr>
                        <a:t>Formulación de proyecto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7295709"/>
                  </a:ext>
                </a:extLst>
              </a:tr>
              <a:tr h="338745"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tornos competitivos</a:t>
                      </a:r>
                      <a:b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52%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BI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S$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,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S$ 1200 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US$ 914 M</a:t>
                      </a:r>
                      <a:endParaRPr lang="es-CO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US$ 936 M</a:t>
                      </a:r>
                      <a:endParaRPr lang="es-CO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7,6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745639"/>
                  </a:ext>
                </a:extLst>
              </a:tr>
              <a:tr h="39109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rgen Utilidad Net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,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3,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2,6%</a:t>
                      </a:r>
                      <a:endParaRPr lang="es-CO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2,1%</a:t>
                      </a:r>
                      <a:endParaRPr lang="es-CO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1169461"/>
                  </a:ext>
                </a:extLst>
              </a:tr>
              <a:tr h="314109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sto por barri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SD/B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,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9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91</a:t>
                      </a:r>
                      <a:endParaRPr lang="es-CO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0,92</a:t>
                      </a:r>
                      <a:endParaRPr lang="es-CO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CO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2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987330"/>
                  </a:ext>
                </a:extLst>
              </a:tr>
              <a:tr h="17245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gulación /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4765687"/>
                  </a:ext>
                </a:extLst>
              </a:tr>
              <a:tr h="172452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recimiento Transición Energética (10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recimiento y </a:t>
                      </a:r>
                      <a:b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versifica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1250864"/>
                  </a:ext>
                </a:extLst>
              </a:tr>
              <a:tr h="150896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rtl="0" fontAlgn="ctr"/>
                      <a:r>
                        <a:rPr lang="es-CO" sz="1000" b="1" i="0" u="none" strike="noStrike">
                          <a:solidFill>
                            <a:srgbClr val="595959"/>
                          </a:solidFill>
                          <a:effectLst/>
                          <a:latin typeface="Arial"/>
                        </a:rPr>
                        <a:t>Proyectos crecimie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5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5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81402"/>
                  </a:ext>
                </a:extLst>
              </a:tr>
              <a:tr h="18785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rtl="0" fontAlgn="ctr"/>
                      <a:r>
                        <a:rPr lang="es-CO" sz="1000" b="1" i="0" u="none" strike="noStrike">
                          <a:solidFill>
                            <a:srgbClr val="595959"/>
                          </a:solidFill>
                          <a:effectLst/>
                          <a:latin typeface="Arial"/>
                        </a:rPr>
                        <a:t>Maximización infraestructura actu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595959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595959"/>
                          </a:solidFill>
                          <a:effectLst/>
                          <a:latin typeface="Arial"/>
                        </a:rPr>
                        <a:t>5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097244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6130362"/>
                  </a:ext>
                </a:extLst>
              </a:tr>
              <a:tr h="135498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nocimiento de vanguardia </a:t>
                      </a:r>
                      <a:b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5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Índice de talento human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8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868468"/>
                  </a:ext>
                </a:extLst>
              </a:tr>
              <a:tr h="101624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rtl="0" fontAlgn="ctr"/>
                      <a:r>
                        <a:rPr lang="es-CO" sz="1000" b="1" i="0" u="none" strike="noStrike">
                          <a:solidFill>
                            <a:srgbClr val="595959"/>
                          </a:solidFill>
                          <a:effectLst/>
                          <a:latin typeface="Arial"/>
                        </a:rPr>
                        <a:t>Índice de ambiente labor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595959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5,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2077267"/>
                  </a:ext>
                </a:extLst>
              </a:tr>
              <a:tr h="138578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rtl="0" fontAlgn="ctr"/>
                      <a:r>
                        <a:rPr lang="es-MX" sz="1000" b="1" i="0" u="none" strike="noStrike">
                          <a:solidFill>
                            <a:srgbClr val="595959"/>
                          </a:solidFill>
                          <a:effectLst/>
                          <a:latin typeface="Arial"/>
                        </a:rPr>
                        <a:t>% de cargos críticos con sucesor identificad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595959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0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3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3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8730046"/>
                  </a:ext>
                </a:extLst>
              </a:tr>
              <a:tr h="1786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s-CO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endParaRPr lang="es-CO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s-C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Cumplimient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s-CO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7,7%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949762"/>
                  </a:ext>
                </a:extLst>
              </a:tr>
            </a:tbl>
          </a:graphicData>
        </a:graphic>
      </p:graphicFrame>
      <p:sp>
        <p:nvSpPr>
          <p:cNvPr id="9" name="Elipse 8">
            <a:extLst>
              <a:ext uri="{FF2B5EF4-FFF2-40B4-BE49-F238E27FC236}">
                <a16:creationId xmlns:a16="http://schemas.microsoft.com/office/drawing/2014/main" id="{8C6CDBA5-77F6-2831-76A6-68D1785A190B}"/>
              </a:ext>
            </a:extLst>
          </p:cNvPr>
          <p:cNvSpPr/>
          <p:nvPr/>
        </p:nvSpPr>
        <p:spPr>
          <a:xfrm>
            <a:off x="9068051" y="6048569"/>
            <a:ext cx="657225" cy="318286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99996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nfidencialidad_Galileo xmlns="40ac5d4a-5951-4e44-be68-384eb7775ab7" xsi:nil="true"/>
    <Macroproceso_Galileo xmlns="40ac5d4a-5951-4e44-be68-384eb7775ab7" xsi:nil="true"/>
    <Proceso_Galileo xmlns="40ac5d4a-5951-4e44-be68-384eb7775ab7" xsi:nil="true"/>
    <PublishingExpirationDate xmlns="http://schemas.microsoft.com/sharepoint/v3" xsi:nil="true"/>
    <PublishingStartDate xmlns="http://schemas.microsoft.com/sharepoint/v3" xsi:nil="true"/>
    <PalabrasClave_Galileo xmlns="40ac5d4a-5951-4e44-be68-384eb7775ab7" xsi:nil="true"/>
    <lcf76f155ced4ddcb4097134ff3c332f xmlns="a2711b0a-ff3e-4857-91f9-5677256004ce">
      <Terms xmlns="http://schemas.microsoft.com/office/infopath/2007/PartnerControls"/>
    </lcf76f155ced4ddcb4097134ff3c332f>
    <TaxCatchAll xmlns="40ac5d4a-5951-4e44-be68-384eb7775ab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F06E382F469B44C9F2171B97D6320F2" ma:contentTypeVersion="26" ma:contentTypeDescription="Crear nuevo documento." ma:contentTypeScope="" ma:versionID="d747d68481b64158388be8f5ffa82d6e">
  <xsd:schema xmlns:xsd="http://www.w3.org/2001/XMLSchema" xmlns:xs="http://www.w3.org/2001/XMLSchema" xmlns:p="http://schemas.microsoft.com/office/2006/metadata/properties" xmlns:ns1="http://schemas.microsoft.com/sharepoint/v3" xmlns:ns2="dd29045b-49ff-4fec-9788-d49c2fb90f35" xmlns:ns3="a2711b0a-ff3e-4857-91f9-5677256004ce" xmlns:ns4="40ac5d4a-5951-4e44-be68-384eb7775ab7" targetNamespace="http://schemas.microsoft.com/office/2006/metadata/properties" ma:root="true" ma:fieldsID="e65a972c573f94a8875f9685f9ef6332" ns1:_="" ns2:_="" ns3:_="" ns4:_="">
    <xsd:import namespace="http://schemas.microsoft.com/sharepoint/v3"/>
    <xsd:import namespace="dd29045b-49ff-4fec-9788-d49c2fb90f35"/>
    <xsd:import namespace="a2711b0a-ff3e-4857-91f9-5677256004ce"/>
    <xsd:import namespace="40ac5d4a-5951-4e44-be68-384eb7775ab7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CR" minOccurs="0"/>
                <xsd:element ref="ns4:Macroproceso_Galileo" minOccurs="0"/>
                <xsd:element ref="ns4:Proceso_Galileo" minOccurs="0"/>
                <xsd:element ref="ns4:Confidencialidad_Galileo" minOccurs="0"/>
                <xsd:element ref="ns4:PalabrasClave_Galileo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4" nillable="true" ma:displayName="Fecha de inicio programada" ma:description="Fecha de inicio programada es una columna del sitio que crea la característica Publicación. Se usa para especificar la fecha y la hora a la que esta página se presentará por primera vez a los visitantes del sitio." ma:hidden="true" ma:internalName="PublishingStartDate" ma:readOnly="false">
      <xsd:simpleType>
        <xsd:restriction base="dms:Unknown"/>
      </xsd:simpleType>
    </xsd:element>
    <xsd:element name="PublishingExpirationDate" ma:index="5" nillable="true" ma:displayName="Fecha de finalización programada" ma:description="Fecha de finalización programada es una columna del sitio que crea la característica Publicación. Se usa para especificar la fecha y la hora a la que esta página dejará de presentarse a los visitantes del sitio." ma:hidden="true" ma:internalName="PublishingExpirationDate" ma:readOnly="fals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29045b-49ff-4fec-9788-d49c2fb90f35" elementFormDefault="qualified">
    <xsd:import namespace="http://schemas.microsoft.com/office/2006/documentManagement/types"/>
    <xsd:import namespace="http://schemas.microsoft.com/office/infopath/2007/PartnerControls"/>
    <xsd:element name="SharedWithUsers" ma:index="6" nillable="true" ma:displayName="Compartido con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7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711b0a-ff3e-4857-91f9-5677256004c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5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Etiquetas de imagen" ma:readOnly="false" ma:fieldId="{5cf76f15-5ced-4ddc-b409-7134ff3c332f}" ma:taxonomyMulti="true" ma:sspId="4192beb2-35a5-4af4-a5ae-50acbeb4e6d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ac5d4a-5951-4e44-be68-384eb7775ab7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7e602af7-9533-4233-96ac-6094414fd254}" ma:internalName="TaxCatchAll" ma:showField="CatchAllData" ma:web="40ac5d4a-5951-4e44-be68-384eb7775ab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Macroproceso_Galileo" ma:index="24" nillable="true" ma:displayName="Macroproceso" ma:list="{f5e96963-7852-44f6-ae7f-c5d7cad07adc}" ma:internalName="Macroproceso_Galileo" ma:showField="Title" ma:web="40ac5d4a-5951-4e44-be68-384eb7775ab7">
      <xsd:simpleType>
        <xsd:restriction base="dms:Lookup"/>
      </xsd:simpleType>
    </xsd:element>
    <xsd:element name="Proceso_Galileo" ma:index="25" nillable="true" ma:displayName="Proceso" ma:list="{9ef33ac1-05de-48f0-9746-9bcd225741de}" ma:internalName="Proceso_Galileo" ma:showField="Title" ma:web="40ac5d4a-5951-4e44-be68-384eb7775ab7">
      <xsd:simpleType>
        <xsd:restriction base="dms:Lookup"/>
      </xsd:simpleType>
    </xsd:element>
    <xsd:element name="Confidencialidad_Galileo" ma:index="26" nillable="true" ma:displayName="Nivel de Confidencialidad" ma:list="{3d1688d3-255e-4710-8e06-58a88e87d858}" ma:internalName="Confidencialidad_Galileo" ma:showField="Title" ma:web="40ac5d4a-5951-4e44-be68-384eb7775ab7">
      <xsd:simpleType>
        <xsd:restriction base="dms:Lookup"/>
      </xsd:simpleType>
    </xsd:element>
    <xsd:element name="PalabrasClave_Galileo" ma:index="27" nillable="true" ma:displayName="Palabras Clave" ma:internalName="PalabrasClave_Galileo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8" ma:displayName="Tipo de contenido"/>
        <xsd:element ref="dc:title" minOccurs="0" maxOccurs="1" ma:index="3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1FFD71A-CC29-4819-AEC3-DA82DB6F7B9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69D3A92-2A72-432B-AC64-78FAF3270E68}">
  <ds:schemaRefs>
    <ds:schemaRef ds:uri="http://schemas.microsoft.com/office/2006/metadata/properties"/>
    <ds:schemaRef ds:uri="http://schemas.microsoft.com/office/infopath/2007/PartnerControls"/>
    <ds:schemaRef ds:uri="40ac5d4a-5951-4e44-be68-384eb7775ab7"/>
    <ds:schemaRef ds:uri="http://schemas.microsoft.com/sharepoint/v3"/>
    <ds:schemaRef ds:uri="a2711b0a-ff3e-4857-91f9-5677256004ce"/>
  </ds:schemaRefs>
</ds:datastoreItem>
</file>

<file path=customXml/itemProps3.xml><?xml version="1.0" encoding="utf-8"?>
<ds:datastoreItem xmlns:ds="http://schemas.openxmlformats.org/officeDocument/2006/customXml" ds:itemID="{885EC753-D351-43E5-9272-CA168D99E8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d29045b-49ff-4fec-9788-d49c2fb90f35"/>
    <ds:schemaRef ds:uri="a2711b0a-ff3e-4857-91f9-5677256004ce"/>
    <ds:schemaRef ds:uri="40ac5d4a-5951-4e44-be68-384eb7775a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a6388b50-90a4-46ba-9d38-b28d1e5eceaf}" enabled="1" method="Privileged" siteId="{a4305987-cf78-4f93-9d64-bf18af65397b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667</TotalTime>
  <Words>366</Words>
  <Application>Microsoft Office PowerPoint</Application>
  <PresentationFormat>Panorámica</PresentationFormat>
  <Paragraphs>142</Paragraphs>
  <Slides>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8" baseType="lpstr">
      <vt:lpstr>Aptos</vt:lpstr>
      <vt:lpstr>Aptos Display</vt:lpstr>
      <vt:lpstr>Aptos Narrow</vt:lpstr>
      <vt:lpstr>Arial</vt:lpstr>
      <vt:lpstr>Calibri</vt:lpstr>
      <vt:lpstr>Tema de Office</vt:lpstr>
      <vt:lpstr>Diapositiva de think-cell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dres Fabian Velasquez Caicedo (OCENSA)</dc:creator>
  <cp:lastModifiedBy>Diana Jeannette Molina Rodriguez (OCENSA)</cp:lastModifiedBy>
  <cp:revision>6</cp:revision>
  <dcterms:created xsi:type="dcterms:W3CDTF">2025-09-03T03:48:25Z</dcterms:created>
  <dcterms:modified xsi:type="dcterms:W3CDTF">2025-10-27T16:1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06E382F469B44C9F2171B97D6320F2</vt:lpwstr>
  </property>
  <property fmtid="{D5CDD505-2E9C-101B-9397-08002B2CF9AE}" pid="3" name="MediaServiceImageTags">
    <vt:lpwstr/>
  </property>
</Properties>
</file>